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51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9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9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0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9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">
            <a:extLst>
              <a:ext uri="{FF2B5EF4-FFF2-40B4-BE49-F238E27FC236}">
                <a16:creationId xmlns:a16="http://schemas.microsoft.com/office/drawing/2014/main" id="{2276A5AF-C747-4EC3-B364-999FA2E91008}"/>
              </a:ext>
            </a:extLst>
          </p:cNvPr>
          <p:cNvGrpSpPr>
            <a:grpSpLocks/>
          </p:cNvGrpSpPr>
          <p:nvPr/>
        </p:nvGrpSpPr>
        <p:grpSpPr bwMode="auto">
          <a:xfrm>
            <a:off x="668447" y="1770105"/>
            <a:ext cx="7991475" cy="4055155"/>
            <a:chOff x="647700" y="1908175"/>
            <a:chExt cx="7991475" cy="3938588"/>
          </a:xfrm>
        </p:grpSpPr>
        <p:sp>
          <p:nvSpPr>
            <p:cNvPr id="18" name="Rechteck 3">
              <a:extLst>
                <a:ext uri="{FF2B5EF4-FFF2-40B4-BE49-F238E27FC236}">
                  <a16:creationId xmlns:a16="http://schemas.microsoft.com/office/drawing/2014/main" id="{EE63E47C-A43B-46E1-B2FA-C794E77D3811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pt-BR" sz="1400" b="1" dirty="0">
                  <a:solidFill>
                    <a:srgbClr val="FFFFFF"/>
                  </a:solidFill>
                  <a:ea typeface="MS PGothic" pitchFamily="34" charset="-128"/>
                </a:rPr>
                <a:t>VALOR E VANTAGENS</a:t>
              </a:r>
            </a:p>
          </p:txBody>
        </p:sp>
        <p:sp>
          <p:nvSpPr>
            <p:cNvPr id="19" name="Rechteck 4">
              <a:extLst>
                <a:ext uri="{FF2B5EF4-FFF2-40B4-BE49-F238E27FC236}">
                  <a16:creationId xmlns:a16="http://schemas.microsoft.com/office/drawing/2014/main" id="{E7FDF70D-BF3E-4978-BC3C-012188DDB340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 eaLnBrk="1" hangingPunct="1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  <p:sp>
          <p:nvSpPr>
            <p:cNvPr id="20" name="Rechteck 11">
              <a:extLst>
                <a:ext uri="{FF2B5EF4-FFF2-40B4-BE49-F238E27FC236}">
                  <a16:creationId xmlns:a16="http://schemas.microsoft.com/office/drawing/2014/main" id="{D09741C4-BAD7-43A5-821C-E0662ECD5612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pt-BR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ÇÃO</a:t>
              </a:r>
            </a:p>
          </p:txBody>
        </p:sp>
        <p:sp>
          <p:nvSpPr>
            <p:cNvPr id="25" name="Rechteck 12">
              <a:extLst>
                <a:ext uri="{FF2B5EF4-FFF2-40B4-BE49-F238E27FC236}">
                  <a16:creationId xmlns:a16="http://schemas.microsoft.com/office/drawing/2014/main" id="{3F432223-CD75-4CE3-9E88-C5973A30107A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pt-BR" dirty="0"/>
              <a:t>Previna paradas por falta de peça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pt-BR" dirty="0"/>
              <a:t>Novo S7-1500 PLC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Obsolescência, </a:t>
            </a:r>
            <a:r>
              <a:rPr lang="en-US" sz="800" kern="0" noProof="1">
                <a:solidFill>
                  <a:srgbClr val="000000"/>
                </a:solidFill>
                <a:latin typeface="Arial"/>
              </a:rPr>
              <a:t>Eficiência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  <a:p>
            <a:pPr lvl="0"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</a:t>
            </a:r>
            <a:r>
              <a:rPr lang="pt-BR" sz="800" kern="0" dirty="0">
                <a:solidFill>
                  <a:srgbClr val="000000"/>
                </a:solidFill>
              </a:rPr>
              <a:t>Todo o equipamento de embalagem (exceto paletizador P4)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>
              <a:defRPr/>
            </a:pPr>
            <a:r>
              <a:rPr lang="en-US" sz="800" kern="0" noProof="1">
                <a:solidFill>
                  <a:srgbClr val="000000"/>
                </a:solidFill>
                <a:latin typeface="Arial"/>
              </a:rPr>
              <a:t>Catálogo código 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CLC-055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76091" y="2176673"/>
            <a:ext cx="3920515" cy="32593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Otimização de performance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Aumento de confiabilidade e produtividade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Design funcional, fácil manuseio e máxima facilidade de uso em muitos novos detalhes: jumpers de potencial integrados, elementos de proteção que podem ser montados sem ferramentas, conectores frontais uniformes, etiquetagem ergonômica do terminal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Autonomia do pessoal de manutenção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Maior capacidade de memória, permitindo tamanhos de formato adicionais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Novas funcionalidades possíveis como opções (ajustes mais precisos, tempos de resposta mais curtos e tempo de processamento de comandos de até 1ns na CPU)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Diagnóstico facilitado pela manutenção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Alto nível de proteção e segurança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Aumento do ciclo de vida da máquina em mais de 50 000h</a:t>
            </a:r>
            <a:endParaRPr lang="pt-BR" sz="1050" spc="-4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09331" y="2189888"/>
            <a:ext cx="3837891" cy="9900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Fornecimento de Siemens PLC S7-1500 com tecnologia de ponta.</a:t>
            </a:r>
          </a:p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Instalado com o Portal TIA do controlador</a:t>
            </a:r>
          </a:p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Licença para comprar diretamente pelo cliente na Siemens</a:t>
            </a:r>
          </a:p>
        </p:txBody>
      </p:sp>
      <p:pic>
        <p:nvPicPr>
          <p:cNvPr id="23" name="Image 2" descr="image003">
            <a:extLst>
              <a:ext uri="{FF2B5EF4-FFF2-40B4-BE49-F238E27FC236}">
                <a16:creationId xmlns:a16="http://schemas.microsoft.com/office/drawing/2014/main" id="{C6CD75B9-152B-4549-AC24-3FA215B702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464" y="3353375"/>
            <a:ext cx="2621372" cy="121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Image 32">
            <a:extLst>
              <a:ext uri="{FF2B5EF4-FFF2-40B4-BE49-F238E27FC236}">
                <a16:creationId xmlns:a16="http://schemas.microsoft.com/office/drawing/2014/main" id="{1FCE893F-3B8E-46D4-BB37-E83A48E342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94960" y="4611673"/>
            <a:ext cx="2666876" cy="111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741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963</TotalTime>
  <Words>175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_NewSidel_Template_4x3_with add layouts</vt:lpstr>
      <vt:lpstr>think-cell Folie</vt:lpstr>
      <vt:lpstr>Previna paradas por falta de peça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95</cp:revision>
  <dcterms:created xsi:type="dcterms:W3CDTF">2019-02-20T10:39:16Z</dcterms:created>
  <dcterms:modified xsi:type="dcterms:W3CDTF">2021-06-09T13:4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6-09T13:42:31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